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72" r:id="rId5"/>
    <p:sldId id="259" r:id="rId6"/>
    <p:sldId id="268" r:id="rId7"/>
    <p:sldId id="266" r:id="rId8"/>
    <p:sldId id="270" r:id="rId9"/>
    <p:sldId id="271" r:id="rId10"/>
    <p:sldId id="269" r:id="rId11"/>
  </p:sldIdLst>
  <p:sldSz cx="12192000" cy="6858000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7375" autoAdjust="0"/>
  </p:normalViewPr>
  <p:slideViewPr>
    <p:cSldViewPr snapToGrid="0">
      <p:cViewPr varScale="1">
        <p:scale>
          <a:sx n="114" d="100"/>
          <a:sy n="114" d="100"/>
        </p:scale>
        <p:origin x="36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te Talåsen Boye" userId="840777b3-423f-4918-8718-977be85265c7" providerId="ADAL" clId="{CDA34B7E-FCC7-45CA-90B6-551DB3E38690}"/>
    <pc:docChg chg="custSel addSld modSld">
      <pc:chgData name="Bente Talåsen Boye" userId="840777b3-423f-4918-8718-977be85265c7" providerId="ADAL" clId="{CDA34B7E-FCC7-45CA-90B6-551DB3E38690}" dt="2023-09-27T12:58:33.550" v="683" actId="1076"/>
      <pc:docMkLst>
        <pc:docMk/>
      </pc:docMkLst>
      <pc:sldChg chg="modSp mod">
        <pc:chgData name="Bente Talåsen Boye" userId="840777b3-423f-4918-8718-977be85265c7" providerId="ADAL" clId="{CDA34B7E-FCC7-45CA-90B6-551DB3E38690}" dt="2023-09-27T12:50:09.605" v="51" actId="20577"/>
        <pc:sldMkLst>
          <pc:docMk/>
          <pc:sldMk cId="407460788" sldId="259"/>
        </pc:sldMkLst>
        <pc:spChg chg="mod">
          <ac:chgData name="Bente Talåsen Boye" userId="840777b3-423f-4918-8718-977be85265c7" providerId="ADAL" clId="{CDA34B7E-FCC7-45CA-90B6-551DB3E38690}" dt="2023-09-27T12:50:09.605" v="51" actId="20577"/>
          <ac:spMkLst>
            <pc:docMk/>
            <pc:sldMk cId="407460788" sldId="259"/>
            <ac:spMk id="2" creationId="{DBC43D06-7C9C-4705-9D2F-9F4A6FC7649A}"/>
          </ac:spMkLst>
        </pc:spChg>
      </pc:sldChg>
      <pc:sldChg chg="modSp mod">
        <pc:chgData name="Bente Talåsen Boye" userId="840777b3-423f-4918-8718-977be85265c7" providerId="ADAL" clId="{CDA34B7E-FCC7-45CA-90B6-551DB3E38690}" dt="2023-09-27T12:50:29.033" v="55" actId="20577"/>
        <pc:sldMkLst>
          <pc:docMk/>
          <pc:sldMk cId="1166102765" sldId="268"/>
        </pc:sldMkLst>
        <pc:spChg chg="mod">
          <ac:chgData name="Bente Talåsen Boye" userId="840777b3-423f-4918-8718-977be85265c7" providerId="ADAL" clId="{CDA34B7E-FCC7-45CA-90B6-551DB3E38690}" dt="2023-09-27T12:50:29.033" v="55" actId="20577"/>
          <ac:spMkLst>
            <pc:docMk/>
            <pc:sldMk cId="1166102765" sldId="268"/>
            <ac:spMk id="2" creationId="{C5979C34-7C86-40AC-BB1F-3C43482CE7BB}"/>
          </ac:spMkLst>
        </pc:spChg>
      </pc:sldChg>
      <pc:sldChg chg="modSp new mod">
        <pc:chgData name="Bente Talåsen Boye" userId="840777b3-423f-4918-8718-977be85265c7" providerId="ADAL" clId="{CDA34B7E-FCC7-45CA-90B6-551DB3E38690}" dt="2023-09-27T12:58:33.550" v="683" actId="1076"/>
        <pc:sldMkLst>
          <pc:docMk/>
          <pc:sldMk cId="2643814823" sldId="272"/>
        </pc:sldMkLst>
        <pc:spChg chg="mod">
          <ac:chgData name="Bente Talåsen Boye" userId="840777b3-423f-4918-8718-977be85265c7" providerId="ADAL" clId="{CDA34B7E-FCC7-45CA-90B6-551DB3E38690}" dt="2023-09-27T12:58:33.550" v="683" actId="1076"/>
          <ac:spMkLst>
            <pc:docMk/>
            <pc:sldMk cId="2643814823" sldId="272"/>
            <ac:spMk id="2" creationId="{BC73310E-55CE-C146-13D4-BDD97F55B0FB}"/>
          </ac:spMkLst>
        </pc:spChg>
        <pc:spChg chg="mod">
          <ac:chgData name="Bente Talåsen Boye" userId="840777b3-423f-4918-8718-977be85265c7" providerId="ADAL" clId="{CDA34B7E-FCC7-45CA-90B6-551DB3E38690}" dt="2023-09-27T12:58:24.196" v="682" actId="27636"/>
          <ac:spMkLst>
            <pc:docMk/>
            <pc:sldMk cId="2643814823" sldId="272"/>
            <ac:spMk id="3" creationId="{978008DE-F410-7C0D-0DC6-F6F1F22A9D0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8E9F8B-0698-493E-ACEC-3A5FA4F567F7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87AB5-0613-4E20-AF84-5BA7CBC6BF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807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ns Fredrik </a:t>
            </a:r>
            <a:r>
              <a:rPr lang="en-US" dirty="0" err="1"/>
              <a:t>Wittusen</a:t>
            </a:r>
            <a:r>
              <a:rPr lang="en-US" dirty="0"/>
              <a:t> </a:t>
            </a:r>
            <a:r>
              <a:rPr lang="en-US" dirty="0" err="1"/>
              <a:t>overtar</a:t>
            </a:r>
            <a:r>
              <a:rPr lang="en-US" dirty="0"/>
              <a:t> </a:t>
            </a:r>
            <a:r>
              <a:rPr lang="en-US" dirty="0" err="1"/>
              <a:t>økonomiansvar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Peder</a:t>
            </a:r>
            <a:r>
              <a:rPr lang="en-US" dirty="0"/>
              <a:t> </a:t>
            </a:r>
            <a:r>
              <a:rPr lang="en-US" dirty="0" err="1"/>
              <a:t>Ornum</a:t>
            </a:r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87AB5-0613-4E20-AF84-5BA7CBC6BF4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634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08B0059-581F-4647-810C-2E724E27D1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B6BB74A-137B-40D7-AF8A-926A21AD7A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2B67951-0FE0-4761-940C-3CBD2675E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F3869F-9429-4F7F-B83C-20D6EC1921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8B8F782-2631-485F-B42B-38ED42026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1480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BCD2BF-64AD-490D-8D73-8E9FF22AE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33A2C26-F08C-4B62-B9AC-E3DE5031BB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DA45670-3207-4A86-AD62-B8B52FDA9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0C47D9F-DA2F-48C5-B3F7-DF109EF34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0C139C7-0C46-4B7B-B952-50D7F3CDC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976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3F24F0C3-0BF3-4FDF-8C84-92A4427914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FEA42F61-A2D8-4CE7-8DF3-9754EB6266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35FB0EB-5734-45AF-B38B-F95D118A9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DAC2759-4463-474E-893A-B2F9EABEF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B7BE1F3-1323-47E6-91D9-A8E77637C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1357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B53435-7B2D-41F4-BBAF-4C49856CA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F41BE60-12C8-4A7D-9545-156195998E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BA315B5-C13A-4397-8FF3-D06059784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6EC1B42-3FB0-4627-8477-3DA3564CC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EAEDD3E-8437-4943-BD9C-90FD5B949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762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9D7D55F-2689-4D4D-8F60-0433BE106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D5BFCC2-7C44-4A48-AD1A-14EAF17E40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2933705-38F1-410B-B0E1-9C78B2AD0C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72956EC-A568-4B1F-BE19-F09C80B73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B1C9DC0-353C-4BC1-90B3-6054F0DFA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760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8EE2DF-9191-47B0-A2F1-54F6DF4EC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361E17A-AAC2-4D18-A56C-4081C2DCC2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A7BE685-C921-42D9-B5E7-CC8A634789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8536FD9-1621-4A27-A4AA-D568C3AB9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FBC9771-305E-461C-9D27-F39846DE4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D58AA29D-5190-40EF-B459-1A7B94C16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4651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80439D2-DC5B-4A76-BA6C-3012C6684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5769730-D424-4136-B919-A51A2A2F39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EE3D1E8-E6B6-4FAF-8739-C660177B37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9DADC393-774C-4F91-B922-277C59BA44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518F2ABB-8203-4086-8FA7-1CAC39262C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2047352C-E856-47A1-A5CA-E42947D14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29AD0FE2-CDDD-4E28-9D30-236730CD52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925875C4-F97E-40BA-B604-2910AF02D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4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788C73F-4188-4BE8-B4ED-3C31F165B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FC5341A8-9510-43D4-9773-85C5C86865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796CF9F8-DEA9-4B7E-B0EC-4A282519D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066ECBA-70C4-4F6D-A8F3-FAA470F34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015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58FEBDB0-33B7-4959-BCAD-E8AC2C9C0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D71FBDB-8DA5-4610-ABD4-A715E1B1F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2FEF326-365E-4DFB-BDFE-739C6463D8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6419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718BEA5-F1D5-402E-944D-138D4B743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FF6617A-FDD6-4CC6-9CEE-B04B330733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4230CA8-1057-45A5-9A3B-472EA46CC9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9E969EF-B029-403B-B9BC-528C90E0E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A038C07-29BC-4767-A759-4F82C7601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C360227F-3577-40F0-80DC-7F94C97BD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259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F3D3CB1-1D9A-4688-AF8F-913C87C6A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75860DE9-DBE8-46EA-BAD5-8BF7B9E99A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695D4B8-1C7D-4C02-88F0-682822290D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D19E933-5397-4C9C-BB66-8F7798B3F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63FAC95-C3BD-4394-8AC6-A1133D770D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7D65B6-30F1-4C39-A841-7809D6903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627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D9B3AA-2619-470D-93DA-9262CB118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36583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00" imgH="393" progId="TCLayout.ActiveDocument.1">
                  <p:embed/>
                </p:oleObj>
              </mc:Choice>
              <mc:Fallback>
                <p:oleObj name="think-cell Slide" r:id="rId14" imgW="400" imgH="39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AD9B3AA-2619-470D-93DA-9262CB11866A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FF918A31-36EA-42A3-A732-DD8304979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47368C7-188C-4F40-BE43-DEBC3BB7CC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C87E963-B781-409E-A776-33AA10681C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492FBD-C97B-4F99-8A17-C24D0E187A84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44E7DDE-A054-44D1-96D8-2A933AA10B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DB73B3A-9D07-419E-BFAB-B318C0C410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708240-D4B0-4735-8EE2-F583FCCC7D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123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909A07E-2B3A-4ECB-9962-9349C3B4F7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141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909A07E-2B3A-4ECB-9962-9349C3B4F7C0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0843FFE-A3FB-4173-AB4A-35B7AB8AD80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FAU-</a:t>
            </a:r>
            <a:r>
              <a:rPr lang="en-US" dirty="0" err="1"/>
              <a:t>møte</a:t>
            </a:r>
            <a:r>
              <a:rPr lang="en-US" dirty="0"/>
              <a:t> 02-2023/24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9401329-DF65-4197-AC8D-3CA1E40999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7. </a:t>
            </a:r>
            <a:r>
              <a:rPr lang="en-US" dirty="0" err="1"/>
              <a:t>september</a:t>
            </a:r>
            <a:r>
              <a:rPr lang="en-US" dirty="0"/>
              <a:t> 2023</a:t>
            </a:r>
          </a:p>
          <a:p>
            <a:r>
              <a:rPr lang="en-US" dirty="0"/>
              <a:t>18:00-20:00</a:t>
            </a:r>
          </a:p>
        </p:txBody>
      </p:sp>
    </p:spTree>
    <p:extLst>
      <p:ext uri="{BB962C8B-B14F-4D97-AF65-F5344CB8AC3E}">
        <p14:creationId xmlns:p14="http://schemas.microsoft.com/office/powerpoint/2010/main" val="140567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7BB84B-4141-4639-800B-186E0CE88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072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7BB84B-4141-4639-800B-186E0CE8836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5979C34-7C86-40AC-BB1F-3C43482CE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10-23/24 - Eventuelt</a:t>
            </a:r>
            <a:endParaRPr lang="en-US" sz="4000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66E7063-4D73-408D-9BB6-FD3A6AC8F8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000" dirty="0"/>
              <a:t>Ingen flere saker ble meldt inn til behandling</a:t>
            </a:r>
          </a:p>
          <a:p>
            <a:r>
              <a:rPr lang="nb-NO" sz="2000" dirty="0"/>
              <a:t>Romfordeling for gruppearbeid</a:t>
            </a:r>
          </a:p>
          <a:p>
            <a:pPr marL="0" indent="0">
              <a:buNone/>
            </a:pPr>
            <a:r>
              <a:rPr lang="nb-NO" sz="2000" dirty="0"/>
              <a:t> </a:t>
            </a:r>
            <a:endParaRPr lang="nb-NO" sz="1600" dirty="0"/>
          </a:p>
          <a:p>
            <a:pPr lvl="1"/>
            <a:endParaRPr lang="nb-NO" sz="1600" dirty="0"/>
          </a:p>
        </p:txBody>
      </p:sp>
      <p:graphicFrame>
        <p:nvGraphicFramePr>
          <p:cNvPr id="4" name="Tabell 5">
            <a:extLst>
              <a:ext uri="{FF2B5EF4-FFF2-40B4-BE49-F238E27FC236}">
                <a16:creationId xmlns:a16="http://schemas.microsoft.com/office/drawing/2014/main" id="{8507F946-2D33-91E0-BE2B-9AA034CDDD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0713173"/>
              </p:ext>
            </p:extLst>
          </p:nvPr>
        </p:nvGraphicFramePr>
        <p:xfrm>
          <a:off x="1175572" y="2747383"/>
          <a:ext cx="8128000" cy="193378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677971">
                  <a:extLst>
                    <a:ext uri="{9D8B030D-6E8A-4147-A177-3AD203B41FA5}">
                      <a16:colId xmlns:a16="http://schemas.microsoft.com/office/drawing/2014/main" val="1615797068"/>
                    </a:ext>
                  </a:extLst>
                </a:gridCol>
                <a:gridCol w="5450029">
                  <a:extLst>
                    <a:ext uri="{9D8B030D-6E8A-4147-A177-3AD203B41FA5}">
                      <a16:colId xmlns:a16="http://schemas.microsoft.com/office/drawing/2014/main" val="2400842608"/>
                    </a:ext>
                  </a:extLst>
                </a:gridCol>
              </a:tblGrid>
              <a:tr h="450426">
                <a:tc>
                  <a:txBody>
                    <a:bodyPr/>
                    <a:lstStyle/>
                    <a:p>
                      <a:pPr rtl="0"/>
                      <a:r>
                        <a:rPr lang="nb-NO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olemilj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Personalromme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2389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Møterommet ved personalrommet 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01625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kolefag og Læringsbret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Mat og helse romme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00216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ærmiljø og trafik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KS-r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78314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 ma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ditori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6879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3023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FB15E80-4CE3-4087-A55B-B539571EBC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056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FB15E80-4CE3-4087-A55B-B539571EBC7D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C92959F-A0E7-4B54-A9B2-AD91FFDF6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4000" dirty="0"/>
              <a:t>Agenda</a:t>
            </a:r>
          </a:p>
        </p:txBody>
      </p:sp>
      <p:graphicFrame>
        <p:nvGraphicFramePr>
          <p:cNvPr id="7" name="Tabell 7">
            <a:extLst>
              <a:ext uri="{FF2B5EF4-FFF2-40B4-BE49-F238E27FC236}">
                <a16:creationId xmlns:a16="http://schemas.microsoft.com/office/drawing/2014/main" id="{9914BCC9-581B-488D-9E21-01E290DE81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7844054"/>
              </p:ext>
            </p:extLst>
          </p:nvPr>
        </p:nvGraphicFramePr>
        <p:xfrm>
          <a:off x="838200" y="1825625"/>
          <a:ext cx="10515600" cy="3408680"/>
        </p:xfrm>
        <a:graphic>
          <a:graphicData uri="http://schemas.openxmlformats.org/drawingml/2006/table">
            <a:tbl>
              <a:tblPr bandRow="1">
                <a:tableStyleId>{F5AB1C69-6EDB-4FF4-983F-18BD219EF322}</a:tableStyleId>
              </a:tblPr>
              <a:tblGrid>
                <a:gridCol w="1750621">
                  <a:extLst>
                    <a:ext uri="{9D8B030D-6E8A-4147-A177-3AD203B41FA5}">
                      <a16:colId xmlns:a16="http://schemas.microsoft.com/office/drawing/2014/main" val="2817829412"/>
                    </a:ext>
                  </a:extLst>
                </a:gridCol>
                <a:gridCol w="6941127">
                  <a:extLst>
                    <a:ext uri="{9D8B030D-6E8A-4147-A177-3AD203B41FA5}">
                      <a16:colId xmlns:a16="http://schemas.microsoft.com/office/drawing/2014/main" val="3311569222"/>
                    </a:ext>
                  </a:extLst>
                </a:gridCol>
                <a:gridCol w="1823852">
                  <a:extLst>
                    <a:ext uri="{9D8B030D-6E8A-4147-A177-3AD203B41FA5}">
                      <a16:colId xmlns:a16="http://schemas.microsoft.com/office/drawing/2014/main" val="36771095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Sak 5 – 2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/>
                        <a:t>Velkommen og godkjenning av innkalling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18:00-18: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3291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Sak 6 – 2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</a:rPr>
                        <a:t>Orientering fra rektor</a:t>
                      </a:r>
                      <a:endParaRPr lang="nb-NO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:05-18: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229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Sak 7 – 2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nstituering av FAU styr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:30-18: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43284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Sak 8 – 2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</a:rPr>
                        <a:t>Orientering fra FAU-ledels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edback etter foreldremøte v/Pernille Grepp Knutsen</a:t>
                      </a:r>
                      <a:r>
                        <a:rPr lang="nn-NO" sz="1800" kern="1200" dirty="0">
                          <a:solidFill>
                            <a:schemeClr val="dk1"/>
                          </a:solidFill>
                          <a:effectLst/>
                        </a:rPr>
                        <a:t> </a:t>
                      </a:r>
                      <a:endParaRPr lang="nb-NO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kolegenser</a:t>
                      </a:r>
                      <a:endParaRPr lang="nb-NO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18:40-19: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77337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dirty="0"/>
                        <a:t>Sak 9 – 2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us fra arbeidsgruppene 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19:25-19: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92162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Sak 10 – 23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Eventue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dirty="0"/>
                        <a:t>19:25-19: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16892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dirty="0"/>
                    </a:p>
                    <a:p>
                      <a:pPr rtl="0"/>
                      <a:r>
                        <a:rPr lang="nb-NO" dirty="0"/>
                        <a:t>Møtetid i arbeidsgruppe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dirty="0"/>
                    </a:p>
                    <a:p>
                      <a:pPr rtl="0"/>
                      <a:r>
                        <a:rPr lang="nb-NO" dirty="0"/>
                        <a:t>19:30-20: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1251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5336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C44CA24-4596-49BF-93F1-48AE70D992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478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C44CA24-4596-49BF-93F1-48AE70D9920F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B224EAB-3845-42D4-A600-AFA850799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05-23/24 - Godkjenning av innkall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C48FCBA-5A33-41D4-A7BA-16B8EC721E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000" dirty="0"/>
              <a:t>Valg av møteleder</a:t>
            </a:r>
          </a:p>
          <a:p>
            <a:pPr lvl="1"/>
            <a:r>
              <a:rPr lang="nb-NO" sz="2000" dirty="0"/>
              <a:t>Forslag vedtak: Som møteleder velges enstemmig Susanne Larsen.</a:t>
            </a:r>
          </a:p>
          <a:p>
            <a:r>
              <a:rPr lang="nb-NO" sz="2000" dirty="0"/>
              <a:t>Godkjennelse av innkallingen</a:t>
            </a:r>
          </a:p>
          <a:p>
            <a:pPr lvl="1"/>
            <a:r>
              <a:rPr lang="nb-NO" sz="2000" dirty="0"/>
              <a:t>Forslag vedtak: Det fremkom ikke bemerkninger til innkallingen, og innkallingen ble således enstemmig godkjent.</a:t>
            </a:r>
          </a:p>
          <a:p>
            <a:r>
              <a:rPr lang="nb-NO" sz="2000" dirty="0"/>
              <a:t>Godkjenning av referat</a:t>
            </a:r>
          </a:p>
          <a:p>
            <a:pPr lvl="1"/>
            <a:r>
              <a:rPr lang="nb-NO" sz="2000" dirty="0"/>
              <a:t>Referat av 30. august 2023</a:t>
            </a:r>
          </a:p>
          <a:p>
            <a:pPr lvl="1"/>
            <a:r>
              <a:rPr lang="nb-NO" sz="2000" dirty="0"/>
              <a:t>Forslag vedtak: Det fremkom ikke bemerkninger til referatet, og det ble således enstemmig godkjent.</a:t>
            </a:r>
          </a:p>
          <a:p>
            <a:r>
              <a:rPr lang="nb-NO" sz="2000" dirty="0"/>
              <a:t>Oppnevnelse av referent</a:t>
            </a:r>
          </a:p>
          <a:p>
            <a:pPr lvl="1"/>
            <a:r>
              <a:rPr lang="nb-NO" sz="2000" dirty="0"/>
              <a:t>Forslag vedtak: Som referent velges enstemmig Linn Helland.</a:t>
            </a:r>
          </a:p>
        </p:txBody>
      </p:sp>
    </p:spTree>
    <p:extLst>
      <p:ext uri="{BB962C8B-B14F-4D97-AF65-F5344CB8AC3E}">
        <p14:creationId xmlns:p14="http://schemas.microsoft.com/office/powerpoint/2010/main" val="2584447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C73310E-55CE-C146-13D4-BDD97F55B0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313" y="114167"/>
            <a:ext cx="10515600" cy="1325563"/>
          </a:xfrm>
        </p:spPr>
        <p:txBody>
          <a:bodyPr>
            <a:normAutofit/>
          </a:bodyPr>
          <a:lstStyle/>
          <a:p>
            <a:r>
              <a:rPr lang="nb-NO" sz="4000" dirty="0"/>
              <a:t>Sak 06-23/24 – orientering fra rektor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78008DE-F410-7C0D-0DC6-F6F1F22A9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1087" y="1439730"/>
            <a:ext cx="10939943" cy="4994625"/>
          </a:xfrm>
        </p:spPr>
        <p:txBody>
          <a:bodyPr>
            <a:normAutofit fontScale="85000" lnSpcReduction="20000"/>
          </a:bodyPr>
          <a:lstStyle/>
          <a:p>
            <a:r>
              <a:rPr lang="nb-NO" dirty="0"/>
              <a:t>Foreldremøter høsten 2023</a:t>
            </a:r>
          </a:p>
          <a:p>
            <a:r>
              <a:rPr lang="nb-NO" dirty="0"/>
              <a:t>Fokus skolemiljø</a:t>
            </a:r>
          </a:p>
          <a:p>
            <a:pPr lvl="1"/>
            <a:r>
              <a:rPr lang="nb-NO" dirty="0"/>
              <a:t>Friminutt</a:t>
            </a:r>
          </a:p>
          <a:p>
            <a:pPr lvl="1"/>
            <a:r>
              <a:rPr lang="nb-NO" dirty="0"/>
              <a:t>Språkbruk</a:t>
            </a:r>
          </a:p>
          <a:p>
            <a:pPr lvl="1"/>
            <a:r>
              <a:rPr lang="nb-NO" dirty="0"/>
              <a:t>Skole-hjemsamarbeid </a:t>
            </a:r>
          </a:p>
          <a:p>
            <a:pPr lvl="1"/>
            <a:r>
              <a:rPr lang="nb-NO" dirty="0"/>
              <a:t>Skolens verdigrunnlag </a:t>
            </a:r>
          </a:p>
          <a:p>
            <a:r>
              <a:rPr lang="nb-NO" dirty="0"/>
              <a:t>Befaring skolegård 10.07.23 </a:t>
            </a:r>
          </a:p>
          <a:p>
            <a:r>
              <a:rPr lang="nb-NO" dirty="0"/>
              <a:t>AKS – høstferie – viktig å overholde påmeldingsfrist og påmelding</a:t>
            </a:r>
          </a:p>
          <a:p>
            <a:r>
              <a:rPr lang="nb-NO" dirty="0"/>
              <a:t>Ny grunnskoledirektør – Elisabeth </a:t>
            </a:r>
            <a:r>
              <a:rPr lang="nb-NO" dirty="0" err="1"/>
              <a:t>Dullum</a:t>
            </a:r>
            <a:r>
              <a:rPr lang="nb-NO" dirty="0"/>
              <a:t> </a:t>
            </a:r>
          </a:p>
          <a:p>
            <a:r>
              <a:rPr lang="nb-NO" dirty="0"/>
              <a:t>Fravær og sykdom – bedre tider i vente </a:t>
            </a:r>
          </a:p>
          <a:p>
            <a:r>
              <a:rPr lang="nb-NO" dirty="0"/>
              <a:t>JAMF – utrulling OK, men noen utfordringer</a:t>
            </a:r>
          </a:p>
          <a:p>
            <a:r>
              <a:rPr lang="nb-NO" dirty="0"/>
              <a:t>Driftsstyremøte 26.09.2023. Økonomi.  </a:t>
            </a:r>
          </a:p>
          <a:p>
            <a:r>
              <a:rPr lang="nb-NO" dirty="0"/>
              <a:t>Ny periode etter høstferien – "Mennesket i verden" </a:t>
            </a:r>
          </a:p>
          <a:p>
            <a:r>
              <a:rPr lang="nb-NO" dirty="0"/>
              <a:t>Midler til FAU og elevrådet: SMU 12.10.23, ønsker at FAU jobber videre med saken </a:t>
            </a:r>
          </a:p>
        </p:txBody>
      </p:sp>
    </p:spTree>
    <p:extLst>
      <p:ext uri="{BB962C8B-B14F-4D97-AF65-F5344CB8AC3E}">
        <p14:creationId xmlns:p14="http://schemas.microsoft.com/office/powerpoint/2010/main" val="2643814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F912B26-E72E-4FAB-9750-F840D3D4E9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130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F912B26-E72E-4FAB-9750-F840D3D4E92D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BC43D06-7C9C-4705-9D2F-9F4A6FC76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07-23/24 – Konstituering av FAU styret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07460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7BB84B-4141-4639-800B-186E0CE88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685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7BB84B-4141-4639-800B-186E0CE8836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5979C34-7C86-40AC-BB1F-3C43482CE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08-23/24 - Orientering fra FAU-leder (</a:t>
            </a:r>
            <a:r>
              <a:rPr lang="nb-NO" sz="4000" dirty="0" err="1"/>
              <a:t>cont</a:t>
            </a:r>
            <a:r>
              <a:rPr lang="nb-NO" sz="4000" dirty="0"/>
              <a:t>.)</a:t>
            </a:r>
            <a:endParaRPr lang="en-US" sz="4000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66E7063-4D73-408D-9BB6-FD3A6AC8F8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sz="1800" dirty="0"/>
              <a:t>Sammensetning av FAU styret er som følgende:</a:t>
            </a:r>
          </a:p>
          <a:p>
            <a:pPr marL="457200" lvl="1" indent="0">
              <a:buNone/>
            </a:pPr>
            <a:r>
              <a:rPr lang="nb-NO" sz="1600" dirty="0"/>
              <a:t> </a:t>
            </a:r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pPr marL="457200" lvl="1" indent="0">
              <a:buNone/>
            </a:pPr>
            <a:endParaRPr lang="nb-NO" sz="1600" dirty="0"/>
          </a:p>
          <a:p>
            <a:r>
              <a:rPr lang="nb-NO" sz="1800" dirty="0"/>
              <a:t>NB: Styremedlemmer oppgir personnummer, fullt navn, </a:t>
            </a:r>
            <a:r>
              <a:rPr lang="nb-NO" sz="1800" dirty="0" err="1"/>
              <a:t>telefonnr</a:t>
            </a:r>
            <a:r>
              <a:rPr lang="nb-NO" sz="1800" dirty="0"/>
              <a:t>. og mailadresse etter møtet for registrering i </a:t>
            </a:r>
            <a:r>
              <a:rPr lang="nb-NO" sz="1800" dirty="0" err="1"/>
              <a:t>Brreg</a:t>
            </a:r>
            <a:endParaRPr lang="nb-NO" sz="1800" dirty="0"/>
          </a:p>
          <a:p>
            <a:r>
              <a:rPr lang="nb-NO" sz="1800" dirty="0"/>
              <a:t>Forslag til støttefunksjoner</a:t>
            </a:r>
          </a:p>
          <a:p>
            <a:pPr lvl="1"/>
            <a:r>
              <a:rPr lang="nb-NO" sz="1600" dirty="0"/>
              <a:t>Økonomiansvarlig med ansvar for budsjett, inn- og utbetalinger og regnskap - Hans Fredrik William Wittusen</a:t>
            </a:r>
          </a:p>
          <a:p>
            <a:pPr lvl="1"/>
            <a:r>
              <a:rPr lang="nb-NO" sz="1600" dirty="0"/>
              <a:t>Sekretær med ansvar for referat fra FAU møter og FAU-mail</a:t>
            </a:r>
          </a:p>
          <a:p>
            <a:pPr lvl="1"/>
            <a:endParaRPr lang="nb-NO" sz="1600" dirty="0"/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74D7B5A0-F4C3-7CFB-0904-9866734058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1302158"/>
              </p:ext>
            </p:extLst>
          </p:nvPr>
        </p:nvGraphicFramePr>
        <p:xfrm>
          <a:off x="1170228" y="2219545"/>
          <a:ext cx="6756766" cy="2194560"/>
        </p:xfrm>
        <a:graphic>
          <a:graphicData uri="http://schemas.openxmlformats.org/drawingml/2006/table">
            <a:tbl>
              <a:tblPr bandRow="1">
                <a:tableStyleId>{1FECB4D8-DB02-4DC6-A0A2-4F2EBAE1DC90}</a:tableStyleId>
              </a:tblPr>
              <a:tblGrid>
                <a:gridCol w="2974175">
                  <a:extLst>
                    <a:ext uri="{9D8B030D-6E8A-4147-A177-3AD203B41FA5}">
                      <a16:colId xmlns:a16="http://schemas.microsoft.com/office/drawing/2014/main" val="218940122"/>
                    </a:ext>
                  </a:extLst>
                </a:gridCol>
                <a:gridCol w="3782591">
                  <a:extLst>
                    <a:ext uri="{9D8B030D-6E8A-4147-A177-3AD203B41FA5}">
                      <a16:colId xmlns:a16="http://schemas.microsoft.com/office/drawing/2014/main" val="1994248760"/>
                    </a:ext>
                  </a:extLst>
                </a:gridCol>
              </a:tblGrid>
              <a:tr h="225172">
                <a:tc>
                  <a:txBody>
                    <a:bodyPr/>
                    <a:lstStyle/>
                    <a:p>
                      <a:pPr rtl="0"/>
                      <a:r>
                        <a:rPr lang="nb-NO" sz="1200" noProof="0"/>
                        <a:t>Le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noProof="0"/>
                        <a:t>Susanne Lar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7757166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rtl="0"/>
                      <a:r>
                        <a:rPr lang="nb-NO" sz="1200" noProof="0"/>
                        <a:t>Nestleder barnetri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noProof="0"/>
                        <a:t>Rikke Næss Wilhelm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91663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rtl="0"/>
                      <a:r>
                        <a:rPr lang="nb-NO" sz="1200" noProof="0"/>
                        <a:t>Nestleder mellomtri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noProof="0"/>
                        <a:t>Tor Asbjørn Heg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4619360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rtl="0"/>
                      <a:r>
                        <a:rPr lang="nb-NO" sz="1200" noProof="0" dirty="0"/>
                        <a:t>Styremedlem (Skolemiljø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noProof="0" dirty="0"/>
                        <a:t>Mona Hafstad Bry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151238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noProof="0" dirty="0"/>
                        <a:t>Styremedlem (AK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noProof="0" dirty="0"/>
                        <a:t>Kristine Fremstad Mo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925908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rtl="0"/>
                      <a:r>
                        <a:rPr lang="nb-NO" sz="1200" noProof="0" dirty="0"/>
                        <a:t>Styremedlem (Skolefag og Læringsbrett 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200" noProof="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8937614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rtl="0"/>
                      <a:r>
                        <a:rPr lang="nb-NO" sz="1200" noProof="0" dirty="0"/>
                        <a:t>Styremedlem (Nærmiljø og trafik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noProof="0" dirty="0"/>
                        <a:t>Carl Morten Sund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9704914"/>
                  </a:ext>
                </a:extLst>
              </a:tr>
              <a:tr h="2251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noProof="0" dirty="0"/>
                        <a:t>Styremedlem (17. ma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200" noProof="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4274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6102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7BB84B-4141-4639-800B-186E0CE88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252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7BB84B-4141-4639-800B-186E0CE8836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5979C34-7C86-40AC-BB1F-3C43482CE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08-23/24 - Orientering fra FAU-leder</a:t>
            </a:r>
            <a:endParaRPr lang="en-US" sz="4000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66E7063-4D73-408D-9BB6-FD3A6AC8F8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00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Feedback etter foreldremøte v/Pernille Grepp Knutsen</a:t>
            </a:r>
            <a:endParaRPr lang="nb-NO" sz="2000" dirty="0"/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defRPr/>
            </a:pPr>
            <a:r>
              <a:rPr lang="nb-NO" sz="2000" kern="1200" dirty="0" err="1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Skolegenser</a:t>
            </a:r>
            <a:endParaRPr lang="nb-NO" sz="200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defRPr/>
            </a:pPr>
            <a:r>
              <a:rPr lang="nb-NO" sz="2000">
                <a:solidFill>
                  <a:schemeClr val="dk1"/>
                </a:solidFill>
              </a:rPr>
              <a:t>Huseby skolekorps</a:t>
            </a:r>
            <a:endParaRPr lang="nb-NO" sz="200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lvl="1" indent="0">
              <a:buNone/>
            </a:pP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3894468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7BB84B-4141-4639-800B-186E0CE883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169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7BB84B-4141-4639-800B-186E0CE88364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5979C34-7C86-40AC-BB1F-3C43482CE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08-23/24 - Orientering fra FAU-leder (</a:t>
            </a:r>
            <a:r>
              <a:rPr lang="nb-NO" sz="4000" dirty="0" err="1"/>
              <a:t>cont</a:t>
            </a:r>
            <a:r>
              <a:rPr lang="nb-NO" sz="4000" dirty="0"/>
              <a:t>.)</a:t>
            </a:r>
            <a:endParaRPr lang="en-US" sz="4000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66E7063-4D73-408D-9BB6-FD3A6AC8F8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nb-NO" sz="2000" dirty="0"/>
          </a:p>
          <a:p>
            <a:endParaRPr lang="nb-NO" sz="2000" dirty="0"/>
          </a:p>
          <a:p>
            <a:endParaRPr lang="nb-NO" sz="2000" dirty="0"/>
          </a:p>
          <a:p>
            <a:endParaRPr lang="nb-NO" sz="2000" dirty="0"/>
          </a:p>
          <a:p>
            <a:endParaRPr lang="nb-NO" sz="2000" dirty="0"/>
          </a:p>
          <a:p>
            <a:endParaRPr lang="nb-NO" sz="2000" dirty="0"/>
          </a:p>
          <a:p>
            <a:endParaRPr lang="nb-NO" sz="2000" dirty="0"/>
          </a:p>
          <a:p>
            <a:endParaRPr lang="nb-NO" sz="2000" dirty="0"/>
          </a:p>
          <a:p>
            <a:pPr marL="0" indent="0">
              <a:buNone/>
            </a:pPr>
            <a:r>
              <a:rPr lang="nb-NO" sz="2000" dirty="0"/>
              <a:t> </a:t>
            </a:r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A7F2D1F0-043D-4A6C-A6BC-8A5B1EBBFE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921391"/>
              </p:ext>
            </p:extLst>
          </p:nvPr>
        </p:nvGraphicFramePr>
        <p:xfrm>
          <a:off x="898733" y="1825625"/>
          <a:ext cx="9407083" cy="4079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01024">
                  <a:extLst>
                    <a:ext uri="{9D8B030D-6E8A-4147-A177-3AD203B41FA5}">
                      <a16:colId xmlns:a16="http://schemas.microsoft.com/office/drawing/2014/main" val="4212943134"/>
                    </a:ext>
                  </a:extLst>
                </a:gridCol>
                <a:gridCol w="1597231">
                  <a:extLst>
                    <a:ext uri="{9D8B030D-6E8A-4147-A177-3AD203B41FA5}">
                      <a16:colId xmlns:a16="http://schemas.microsoft.com/office/drawing/2014/main" val="1975899178"/>
                    </a:ext>
                  </a:extLst>
                </a:gridCol>
                <a:gridCol w="2303813">
                  <a:extLst>
                    <a:ext uri="{9D8B030D-6E8A-4147-A177-3AD203B41FA5}">
                      <a16:colId xmlns:a16="http://schemas.microsoft.com/office/drawing/2014/main" val="692725322"/>
                    </a:ext>
                  </a:extLst>
                </a:gridCol>
                <a:gridCol w="2054675">
                  <a:extLst>
                    <a:ext uri="{9D8B030D-6E8A-4147-A177-3AD203B41FA5}">
                      <a16:colId xmlns:a16="http://schemas.microsoft.com/office/drawing/2014/main" val="10877024"/>
                    </a:ext>
                  </a:extLst>
                </a:gridCol>
                <a:gridCol w="1850340">
                  <a:extLst>
                    <a:ext uri="{9D8B030D-6E8A-4147-A177-3AD203B41FA5}">
                      <a16:colId xmlns:a16="http://schemas.microsoft.com/office/drawing/2014/main" val="1791121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600" noProof="0" dirty="0"/>
                        <a:t>Skolemilj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600" noProof="0" dirty="0"/>
                        <a:t>Aktivitetssk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600" noProof="0"/>
                        <a:t>Skolefag og Læringsbret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600" noProof="0"/>
                        <a:t>Nærmiljø og trafik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600" noProof="0" dirty="0"/>
                        <a:t>17. ma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9351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Anna Storak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lja Holbæk-Hanss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åvard Kamp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Ole Martin Westgaar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Cathrine Si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73701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/>
                        <a:t>Laura Sala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ristine F. Moe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are Andreas Sheteli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Kristin Dah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Hans Fredrik Wittu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7599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Mona Bry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te E.S. Ulvesta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Erlend </a:t>
                      </a:r>
                      <a:r>
                        <a:rPr lang="nb-NO" sz="1400" dirty="0" err="1"/>
                        <a:t>Ramnefjell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Simon Egeber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37552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Benedicte </a:t>
                      </a:r>
                      <a:r>
                        <a:rPr lang="nb-NO" sz="1400" dirty="0" err="1"/>
                        <a:t>Gautneb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ne Karine Vidn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lvl="0" algn="l" defTabSz="914400" rtl="0" eaLnBrk="1" fontAlgn="b" latinLnBrk="0" hangingPunct="1"/>
                      <a:endParaRPr lang="nb-NO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Carl Morten Sund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Cecilie Weyerga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78207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Alexander Leirf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nb-NO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Ingar Haaken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nicke N. Ryd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3004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Torhild Mathies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Kristin </a:t>
                      </a:r>
                      <a:r>
                        <a:rPr lang="nb-NO" sz="1400" dirty="0" err="1"/>
                        <a:t>Trondstad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n Helland</a:t>
                      </a:r>
                      <a:endParaRPr lang="nb-NO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13592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Birgit Kvernflat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Ingrid </a:t>
                      </a:r>
                      <a:r>
                        <a:rPr lang="nb-NO" sz="1400" dirty="0" err="1"/>
                        <a:t>Haaskjold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Erica Munthe-Ka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8286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Espen Mel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Peter Vol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Anette Jaeger Arne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79218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Cecilie Ly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dirty="0"/>
                        <a:t>Camilla Havela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9801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nb-NO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82237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54851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F912B26-E72E-4FAB-9750-F840D3D4E9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0" imgH="393" progId="TCLayout.ActiveDocument.1">
                  <p:embed/>
                </p:oleObj>
              </mc:Choice>
              <mc:Fallback>
                <p:oleObj name="think-cell Slide" r:id="rId3" imgW="400" imgH="39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F912B26-E72E-4FAB-9750-F840D3D4E92D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BC43D06-7C9C-4705-9D2F-9F4A6FC76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4000" dirty="0"/>
              <a:t>Sak 09-23/24 – Status fra arbeidsgruppen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189611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5D2D1A7B8764DB22CDAE5BEAFA012" ma:contentTypeVersion="" ma:contentTypeDescription="Opprett et nytt dokument." ma:contentTypeScope="" ma:versionID="ca2b25c1ab6e4cc7ee8580693b5a4cf7">
  <xsd:schema xmlns:xsd="http://www.w3.org/2001/XMLSchema" xmlns:xs="http://www.w3.org/2001/XMLSchema" xmlns:p="http://schemas.microsoft.com/office/2006/metadata/properties" xmlns:ns2="34c9d583-fe2e-4c2e-9610-5b49b0227ada" xmlns:ns3="7027f0fd-d8f8-4559-8187-5c3b473a4f8c" targetNamespace="http://schemas.microsoft.com/office/2006/metadata/properties" ma:root="true" ma:fieldsID="ba7228102733446f33e688a4b2225a6e" ns2:_="" ns3:_="">
    <xsd:import namespace="34c9d583-fe2e-4c2e-9610-5b49b0227ada"/>
    <xsd:import namespace="7027f0fd-d8f8-4559-8187-5c3b473a4f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c9d583-fe2e-4c2e-9610-5b49b0227a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Bildemerkelapper" ma:readOnly="false" ma:fieldId="{5cf76f15-5ced-4ddc-b409-7134ff3c332f}" ma:taxonomyMulti="true" ma:sspId="d2bf785b-8fef-4b70-b2f9-38d45fd2cc1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27f0fd-d8f8-4559-8187-5c3b473a4f8c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36b0b808-93cf-4847-89ae-ebb90ec54e9c}" ma:internalName="TaxCatchAll" ma:showField="CatchAllData" ma:web="7027f0fd-d8f8-4559-8187-5c3b473a4f8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4c9d583-fe2e-4c2e-9610-5b49b0227ada">
      <Terms xmlns="http://schemas.microsoft.com/office/infopath/2007/PartnerControls"/>
    </lcf76f155ced4ddcb4097134ff3c332f>
    <TaxCatchAll xmlns="7027f0fd-d8f8-4559-8187-5c3b473a4f8c" xsi:nil="true"/>
  </documentManagement>
</p:properties>
</file>

<file path=customXml/itemProps1.xml><?xml version="1.0" encoding="utf-8"?>
<ds:datastoreItem xmlns:ds="http://schemas.openxmlformats.org/officeDocument/2006/customXml" ds:itemID="{6CF55045-93C5-4F38-BAD8-85461693A0DA}"/>
</file>

<file path=customXml/itemProps2.xml><?xml version="1.0" encoding="utf-8"?>
<ds:datastoreItem xmlns:ds="http://schemas.openxmlformats.org/officeDocument/2006/customXml" ds:itemID="{4EED69A8-6EC3-4764-912C-2DAACB178D1D}"/>
</file>

<file path=customXml/itemProps3.xml><?xml version="1.0" encoding="utf-8"?>
<ds:datastoreItem xmlns:ds="http://schemas.openxmlformats.org/officeDocument/2006/customXml" ds:itemID="{351CF859-1457-49AC-B35C-E8EB37F9C9DB}"/>
</file>

<file path=docProps/app.xml><?xml version="1.0" encoding="utf-8"?>
<Properties xmlns="http://schemas.openxmlformats.org/officeDocument/2006/extended-properties" xmlns:vt="http://schemas.openxmlformats.org/officeDocument/2006/docPropsVTypes">
  <TotalTime>11065</TotalTime>
  <Words>518</Words>
  <Application>Microsoft Office PowerPoint</Application>
  <PresentationFormat>Widescreen</PresentationFormat>
  <Paragraphs>151</Paragraphs>
  <Slides>10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Office-tema</vt:lpstr>
      <vt:lpstr>think-cell Slide</vt:lpstr>
      <vt:lpstr>FAU-møte 02-2023/24</vt:lpstr>
      <vt:lpstr>Agenda</vt:lpstr>
      <vt:lpstr>Sak 05-23/24 - Godkjenning av innkalling</vt:lpstr>
      <vt:lpstr>Sak 06-23/24 – orientering fra rektor </vt:lpstr>
      <vt:lpstr>Sak 07-23/24 – Konstituering av FAU styret</vt:lpstr>
      <vt:lpstr>Sak 08-23/24 - Orientering fra FAU-leder (cont.)</vt:lpstr>
      <vt:lpstr>Sak 08-23/24 - Orientering fra FAU-leder</vt:lpstr>
      <vt:lpstr>Sak 08-23/24 - Orientering fra FAU-leder (cont.)</vt:lpstr>
      <vt:lpstr>Sak 09-23/24 – Status fra arbeidsgruppene</vt:lpstr>
      <vt:lpstr>Sak 10-23/24 - Eventuel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U-møte 02-2022/23</dc:title>
  <dc:creator>Susanne Larsen</dc:creator>
  <cp:lastModifiedBy>Bente Talåsen Boye</cp:lastModifiedBy>
  <cp:revision>10</cp:revision>
  <dcterms:created xsi:type="dcterms:W3CDTF">2022-10-19T17:10:50Z</dcterms:created>
  <dcterms:modified xsi:type="dcterms:W3CDTF">2023-09-27T12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B75D2D1A7B8764DB22CDAE5BEAFA012</vt:lpwstr>
  </property>
</Properties>
</file>